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sldIdLst>
    <p:sldId id="2147470033" r:id="rId2"/>
    <p:sldId id="2147470034" r:id="rId3"/>
    <p:sldId id="2147470036" r:id="rId4"/>
    <p:sldId id="2147470032" r:id="rId5"/>
    <p:sldId id="2147470044" r:id="rId6"/>
    <p:sldId id="2147470053" r:id="rId7"/>
    <p:sldId id="2147470045" r:id="rId8"/>
    <p:sldId id="2147470052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4414A16-4759-4AF8-8AB9-7C83D2325775}">
          <p14:sldIdLst>
            <p14:sldId id="2147470033"/>
            <p14:sldId id="2147470034"/>
            <p14:sldId id="2147470036"/>
            <p14:sldId id="2147470032"/>
            <p14:sldId id="2147470044"/>
            <p14:sldId id="2147470053"/>
            <p14:sldId id="2147470045"/>
            <p14:sldId id="214747005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26B"/>
    <a:srgbClr val="202A44"/>
    <a:srgbClr val="7088B0"/>
    <a:srgbClr val="C77977"/>
    <a:srgbClr val="FFFFFF"/>
    <a:srgbClr val="FCFCFD"/>
    <a:srgbClr val="F7F7F7"/>
    <a:srgbClr val="FEFFFF"/>
    <a:srgbClr val="D4D4D4"/>
    <a:srgbClr val="000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45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rah-beth.powell@outlook.com" userId="d746eee4a24a9cd1" providerId="LiveId" clId="{DCDBAD5D-85F1-401C-809E-6DF7B5241542}"/>
    <pc:docChg chg="undo custSel addSld delSld modSld delSection modSection">
      <pc:chgData name="sarah-beth.powell@outlook.com" userId="d746eee4a24a9cd1" providerId="LiveId" clId="{DCDBAD5D-85F1-401C-809E-6DF7B5241542}" dt="2022-11-30T22:57:53.627" v="960" actId="14100"/>
      <pc:docMkLst>
        <pc:docMk/>
      </pc:docMkLst>
      <pc:sldChg chg="delSp modSp mod">
        <pc:chgData name="sarah-beth.powell@outlook.com" userId="d746eee4a24a9cd1" providerId="LiveId" clId="{DCDBAD5D-85F1-401C-809E-6DF7B5241542}" dt="2022-11-30T22:17:48.516" v="253" actId="478"/>
        <pc:sldMkLst>
          <pc:docMk/>
          <pc:sldMk cId="476767592" sldId="2147470032"/>
        </pc:sldMkLst>
        <pc:spChg chg="mod">
          <ac:chgData name="sarah-beth.powell@outlook.com" userId="d746eee4a24a9cd1" providerId="LiveId" clId="{DCDBAD5D-85F1-401C-809E-6DF7B5241542}" dt="2022-11-30T22:15:07.838" v="64" actId="20577"/>
          <ac:spMkLst>
            <pc:docMk/>
            <pc:sldMk cId="476767592" sldId="2147470032"/>
            <ac:spMk id="8" creationId="{05A96E7B-3D2E-4C40-AB13-E65299A25E25}"/>
          </ac:spMkLst>
        </pc:spChg>
        <pc:spChg chg="del">
          <ac:chgData name="sarah-beth.powell@outlook.com" userId="d746eee4a24a9cd1" providerId="LiveId" clId="{DCDBAD5D-85F1-401C-809E-6DF7B5241542}" dt="2022-11-30T22:17:48.516" v="253" actId="478"/>
          <ac:spMkLst>
            <pc:docMk/>
            <pc:sldMk cId="476767592" sldId="2147470032"/>
            <ac:spMk id="11" creationId="{004E1258-1BD7-4021-83BC-FB0DE0189687}"/>
          </ac:spMkLst>
        </pc:spChg>
        <pc:spChg chg="mod">
          <ac:chgData name="sarah-beth.powell@outlook.com" userId="d746eee4a24a9cd1" providerId="LiveId" clId="{DCDBAD5D-85F1-401C-809E-6DF7B5241542}" dt="2022-11-30T22:16:27.819" v="194" actId="1076"/>
          <ac:spMkLst>
            <pc:docMk/>
            <pc:sldMk cId="476767592" sldId="2147470032"/>
            <ac:spMk id="12" creationId="{EA3EEAF1-64A0-4CBD-AA41-E3D17655B644}"/>
          </ac:spMkLst>
        </pc:spChg>
        <pc:spChg chg="mod">
          <ac:chgData name="sarah-beth.powell@outlook.com" userId="d746eee4a24a9cd1" providerId="LiveId" clId="{DCDBAD5D-85F1-401C-809E-6DF7B5241542}" dt="2022-11-30T22:17:36.219" v="252" actId="108"/>
          <ac:spMkLst>
            <pc:docMk/>
            <pc:sldMk cId="476767592" sldId="2147470032"/>
            <ac:spMk id="13" creationId="{490CF4DD-CC95-488E-B659-EE1B39FC0448}"/>
          </ac:spMkLst>
        </pc:spChg>
        <pc:spChg chg="del">
          <ac:chgData name="sarah-beth.powell@outlook.com" userId="d746eee4a24a9cd1" providerId="LiveId" clId="{DCDBAD5D-85F1-401C-809E-6DF7B5241542}" dt="2022-11-30T22:17:48.516" v="253" actId="478"/>
          <ac:spMkLst>
            <pc:docMk/>
            <pc:sldMk cId="476767592" sldId="2147470032"/>
            <ac:spMk id="14" creationId="{44A35542-D3B3-4025-8182-8ABB13AC46FA}"/>
          </ac:spMkLst>
        </pc:spChg>
      </pc:sldChg>
      <pc:sldChg chg="modSp mod">
        <pc:chgData name="sarah-beth.powell@outlook.com" userId="d746eee4a24a9cd1" providerId="LiveId" clId="{DCDBAD5D-85F1-401C-809E-6DF7B5241542}" dt="2022-11-30T22:57:53.627" v="960" actId="14100"/>
        <pc:sldMkLst>
          <pc:docMk/>
          <pc:sldMk cId="2395796434" sldId="2147470033"/>
        </pc:sldMkLst>
        <pc:spChg chg="mod">
          <ac:chgData name="sarah-beth.powell@outlook.com" userId="d746eee4a24a9cd1" providerId="LiveId" clId="{DCDBAD5D-85F1-401C-809E-6DF7B5241542}" dt="2022-11-30T22:13:17.932" v="29" actId="20577"/>
          <ac:spMkLst>
            <pc:docMk/>
            <pc:sldMk cId="2395796434" sldId="2147470033"/>
            <ac:spMk id="3" creationId="{67C8B8CF-E940-A5F2-22BE-D7CF4616F295}"/>
          </ac:spMkLst>
        </pc:spChg>
        <pc:spChg chg="mod">
          <ac:chgData name="sarah-beth.powell@outlook.com" userId="d746eee4a24a9cd1" providerId="LiveId" clId="{DCDBAD5D-85F1-401C-809E-6DF7B5241542}" dt="2022-11-30T22:13:28.154" v="47" actId="20577"/>
          <ac:spMkLst>
            <pc:docMk/>
            <pc:sldMk cId="2395796434" sldId="2147470033"/>
            <ac:spMk id="4" creationId="{067BEDFB-4C70-B634-E765-665C7EC34997}"/>
          </ac:spMkLst>
        </pc:spChg>
        <pc:spChg chg="mod">
          <ac:chgData name="sarah-beth.powell@outlook.com" userId="d746eee4a24a9cd1" providerId="LiveId" clId="{DCDBAD5D-85F1-401C-809E-6DF7B5241542}" dt="2022-11-30T22:57:53.627" v="960" actId="14100"/>
          <ac:spMkLst>
            <pc:docMk/>
            <pc:sldMk cId="2395796434" sldId="2147470033"/>
            <ac:spMk id="7" creationId="{7B0307B8-CA0B-530E-BE9F-91A660AB5E42}"/>
          </ac:spMkLst>
        </pc:spChg>
      </pc:sldChg>
      <pc:sldChg chg="del">
        <pc:chgData name="sarah-beth.powell@outlook.com" userId="d746eee4a24a9cd1" providerId="LiveId" clId="{DCDBAD5D-85F1-401C-809E-6DF7B5241542}" dt="2022-11-30T22:13:45.882" v="48" actId="47"/>
        <pc:sldMkLst>
          <pc:docMk/>
          <pc:sldMk cId="2589687159" sldId="2147470035"/>
        </pc:sldMkLst>
      </pc:sldChg>
      <pc:sldChg chg="del">
        <pc:chgData name="sarah-beth.powell@outlook.com" userId="d746eee4a24a9cd1" providerId="LiveId" clId="{DCDBAD5D-85F1-401C-809E-6DF7B5241542}" dt="2022-11-30T22:14:07.709" v="49" actId="47"/>
        <pc:sldMkLst>
          <pc:docMk/>
          <pc:sldMk cId="1188571345" sldId="2147470037"/>
        </pc:sldMkLst>
      </pc:sldChg>
      <pc:sldChg chg="del">
        <pc:chgData name="sarah-beth.powell@outlook.com" userId="d746eee4a24a9cd1" providerId="LiveId" clId="{DCDBAD5D-85F1-401C-809E-6DF7B5241542}" dt="2022-11-30T22:14:09.209" v="50" actId="47"/>
        <pc:sldMkLst>
          <pc:docMk/>
          <pc:sldMk cId="926848701" sldId="2147470039"/>
        </pc:sldMkLst>
      </pc:sldChg>
      <pc:sldChg chg="del">
        <pc:chgData name="sarah-beth.powell@outlook.com" userId="d746eee4a24a9cd1" providerId="LiveId" clId="{DCDBAD5D-85F1-401C-809E-6DF7B5241542}" dt="2022-11-30T22:14:26.823" v="52" actId="47"/>
        <pc:sldMkLst>
          <pc:docMk/>
          <pc:sldMk cId="788222931" sldId="2147470040"/>
        </pc:sldMkLst>
      </pc:sldChg>
      <pc:sldChg chg="del">
        <pc:chgData name="sarah-beth.powell@outlook.com" userId="d746eee4a24a9cd1" providerId="LiveId" clId="{DCDBAD5D-85F1-401C-809E-6DF7B5241542}" dt="2022-11-30T22:14:27.349" v="53" actId="47"/>
        <pc:sldMkLst>
          <pc:docMk/>
          <pc:sldMk cId="1411163170" sldId="2147470041"/>
        </pc:sldMkLst>
      </pc:sldChg>
      <pc:sldChg chg="del">
        <pc:chgData name="sarah-beth.powell@outlook.com" userId="d746eee4a24a9cd1" providerId="LiveId" clId="{DCDBAD5D-85F1-401C-809E-6DF7B5241542}" dt="2022-11-30T22:57:22.608" v="955" actId="47"/>
        <pc:sldMkLst>
          <pc:docMk/>
          <pc:sldMk cId="3681187273" sldId="2147470043"/>
        </pc:sldMkLst>
      </pc:sldChg>
      <pc:sldChg chg="modSp mod">
        <pc:chgData name="sarah-beth.powell@outlook.com" userId="d746eee4a24a9cd1" providerId="LiveId" clId="{DCDBAD5D-85F1-401C-809E-6DF7B5241542}" dt="2022-11-30T22:18:40.714" v="355" actId="20577"/>
        <pc:sldMkLst>
          <pc:docMk/>
          <pc:sldMk cId="212007611" sldId="2147470044"/>
        </pc:sldMkLst>
        <pc:spChg chg="mod">
          <ac:chgData name="sarah-beth.powell@outlook.com" userId="d746eee4a24a9cd1" providerId="LiveId" clId="{DCDBAD5D-85F1-401C-809E-6DF7B5241542}" dt="2022-11-30T22:18:00.733" v="268" actId="20577"/>
          <ac:spMkLst>
            <pc:docMk/>
            <pc:sldMk cId="212007611" sldId="2147470044"/>
            <ac:spMk id="4" creationId="{6D7E54E0-D061-39DE-2462-9FDFF69166F7}"/>
          </ac:spMkLst>
        </pc:spChg>
        <pc:spChg chg="mod">
          <ac:chgData name="sarah-beth.powell@outlook.com" userId="d746eee4a24a9cd1" providerId="LiveId" clId="{DCDBAD5D-85F1-401C-809E-6DF7B5241542}" dt="2022-11-30T22:18:40.714" v="355" actId="20577"/>
          <ac:spMkLst>
            <pc:docMk/>
            <pc:sldMk cId="212007611" sldId="2147470044"/>
            <ac:spMk id="6" creationId="{7D1EDC71-E486-45A5-1F27-E91466FFA99B}"/>
          </ac:spMkLst>
        </pc:spChg>
      </pc:sldChg>
      <pc:sldChg chg="modSp mod">
        <pc:chgData name="sarah-beth.powell@outlook.com" userId="d746eee4a24a9cd1" providerId="LiveId" clId="{DCDBAD5D-85F1-401C-809E-6DF7B5241542}" dt="2022-11-30T22:19:12.515" v="409" actId="20577"/>
        <pc:sldMkLst>
          <pc:docMk/>
          <pc:sldMk cId="1604640989" sldId="2147470045"/>
        </pc:sldMkLst>
        <pc:spChg chg="mod">
          <ac:chgData name="sarah-beth.powell@outlook.com" userId="d746eee4a24a9cd1" providerId="LiveId" clId="{DCDBAD5D-85F1-401C-809E-6DF7B5241542}" dt="2022-11-30T22:18:49.201" v="364" actId="20577"/>
          <ac:spMkLst>
            <pc:docMk/>
            <pc:sldMk cId="1604640989" sldId="2147470045"/>
            <ac:spMk id="4" creationId="{6D7E54E0-D061-39DE-2462-9FDFF69166F7}"/>
          </ac:spMkLst>
        </pc:spChg>
        <pc:spChg chg="mod">
          <ac:chgData name="sarah-beth.powell@outlook.com" userId="d746eee4a24a9cd1" providerId="LiveId" clId="{DCDBAD5D-85F1-401C-809E-6DF7B5241542}" dt="2022-11-30T22:19:12.515" v="409" actId="20577"/>
          <ac:spMkLst>
            <pc:docMk/>
            <pc:sldMk cId="1604640989" sldId="2147470045"/>
            <ac:spMk id="6" creationId="{7D1EDC71-E486-45A5-1F27-E91466FFA99B}"/>
          </ac:spMkLst>
        </pc:spChg>
      </pc:sldChg>
      <pc:sldChg chg="del">
        <pc:chgData name="sarah-beth.powell@outlook.com" userId="d746eee4a24a9cd1" providerId="LiveId" clId="{DCDBAD5D-85F1-401C-809E-6DF7B5241542}" dt="2022-11-30T22:14:15.053" v="51" actId="47"/>
        <pc:sldMkLst>
          <pc:docMk/>
          <pc:sldMk cId="978990435" sldId="2147470046"/>
        </pc:sldMkLst>
      </pc:sldChg>
      <pc:sldChg chg="del">
        <pc:chgData name="sarah-beth.powell@outlook.com" userId="d746eee4a24a9cd1" providerId="LiveId" clId="{DCDBAD5D-85F1-401C-809E-6DF7B5241542}" dt="2022-11-30T22:19:23.093" v="411" actId="47"/>
        <pc:sldMkLst>
          <pc:docMk/>
          <pc:sldMk cId="480943051" sldId="2147470047"/>
        </pc:sldMkLst>
      </pc:sldChg>
      <pc:sldChg chg="del">
        <pc:chgData name="sarah-beth.powell@outlook.com" userId="d746eee4a24a9cd1" providerId="LiveId" clId="{DCDBAD5D-85F1-401C-809E-6DF7B5241542}" dt="2022-11-30T22:19:22.364" v="410" actId="47"/>
        <pc:sldMkLst>
          <pc:docMk/>
          <pc:sldMk cId="1599015932" sldId="2147470048"/>
        </pc:sldMkLst>
      </pc:sldChg>
      <pc:sldChg chg="del">
        <pc:chgData name="sarah-beth.powell@outlook.com" userId="d746eee4a24a9cd1" providerId="LiveId" clId="{DCDBAD5D-85F1-401C-809E-6DF7B5241542}" dt="2022-11-30T22:57:21.793" v="954" actId="47"/>
        <pc:sldMkLst>
          <pc:docMk/>
          <pc:sldMk cId="3236556928" sldId="2147470049"/>
        </pc:sldMkLst>
      </pc:sldChg>
      <pc:sldChg chg="del">
        <pc:chgData name="sarah-beth.powell@outlook.com" userId="d746eee4a24a9cd1" providerId="LiveId" clId="{DCDBAD5D-85F1-401C-809E-6DF7B5241542}" dt="2022-11-30T22:14:37.929" v="54" actId="47"/>
        <pc:sldMkLst>
          <pc:docMk/>
          <pc:sldMk cId="1502837710" sldId="2147470050"/>
        </pc:sldMkLst>
      </pc:sldChg>
      <pc:sldChg chg="del">
        <pc:chgData name="sarah-beth.powell@outlook.com" userId="d746eee4a24a9cd1" providerId="LiveId" clId="{DCDBAD5D-85F1-401C-809E-6DF7B5241542}" dt="2022-11-30T22:57:23.073" v="956" actId="47"/>
        <pc:sldMkLst>
          <pc:docMk/>
          <pc:sldMk cId="2054253381" sldId="2147470051"/>
        </pc:sldMkLst>
      </pc:sldChg>
      <pc:sldChg chg="add del setBg">
        <pc:chgData name="sarah-beth.powell@outlook.com" userId="d746eee4a24a9cd1" providerId="LiveId" clId="{DCDBAD5D-85F1-401C-809E-6DF7B5241542}" dt="2022-11-30T22:22:04.529" v="413"/>
        <pc:sldMkLst>
          <pc:docMk/>
          <pc:sldMk cId="932478906" sldId="2147470052"/>
        </pc:sldMkLst>
      </pc:sldChg>
      <pc:sldChg chg="addSp delSp modSp add mod">
        <pc:chgData name="sarah-beth.powell@outlook.com" userId="d746eee4a24a9cd1" providerId="LiveId" clId="{DCDBAD5D-85F1-401C-809E-6DF7B5241542}" dt="2022-11-30T22:22:53.233" v="423"/>
        <pc:sldMkLst>
          <pc:docMk/>
          <pc:sldMk cId="1842391159" sldId="2147470052"/>
        </pc:sldMkLst>
        <pc:spChg chg="del">
          <ac:chgData name="sarah-beth.powell@outlook.com" userId="d746eee4a24a9cd1" providerId="LiveId" clId="{DCDBAD5D-85F1-401C-809E-6DF7B5241542}" dt="2022-11-30T22:22:08.260" v="415" actId="478"/>
          <ac:spMkLst>
            <pc:docMk/>
            <pc:sldMk cId="1842391159" sldId="2147470052"/>
            <ac:spMk id="9" creationId="{0D610797-3D23-4C1F-B662-1F4CBD325FC5}"/>
          </ac:spMkLst>
        </pc:spChg>
        <pc:spChg chg="del">
          <ac:chgData name="sarah-beth.powell@outlook.com" userId="d746eee4a24a9cd1" providerId="LiveId" clId="{DCDBAD5D-85F1-401C-809E-6DF7B5241542}" dt="2022-11-30T22:22:08.260" v="415" actId="478"/>
          <ac:spMkLst>
            <pc:docMk/>
            <pc:sldMk cId="1842391159" sldId="2147470052"/>
            <ac:spMk id="10" creationId="{40BFBEB8-561F-445D-B118-92666EEDF9BF}"/>
          </ac:spMkLst>
        </pc:spChg>
        <pc:spChg chg="del">
          <ac:chgData name="sarah-beth.powell@outlook.com" userId="d746eee4a24a9cd1" providerId="LiveId" clId="{DCDBAD5D-85F1-401C-809E-6DF7B5241542}" dt="2022-11-30T22:22:10.608" v="417" actId="478"/>
          <ac:spMkLst>
            <pc:docMk/>
            <pc:sldMk cId="1842391159" sldId="2147470052"/>
            <ac:spMk id="12" creationId="{EA3EEAF1-64A0-4CBD-AA41-E3D17655B644}"/>
          </ac:spMkLst>
        </pc:spChg>
        <pc:spChg chg="del">
          <ac:chgData name="sarah-beth.powell@outlook.com" userId="d746eee4a24a9cd1" providerId="LiveId" clId="{DCDBAD5D-85F1-401C-809E-6DF7B5241542}" dt="2022-11-30T22:22:09.344" v="416" actId="478"/>
          <ac:spMkLst>
            <pc:docMk/>
            <pc:sldMk cId="1842391159" sldId="2147470052"/>
            <ac:spMk id="13" creationId="{490CF4DD-CC95-488E-B659-EE1B39FC0448}"/>
          </ac:spMkLst>
        </pc:spChg>
        <pc:picChg chg="add mod">
          <ac:chgData name="sarah-beth.powell@outlook.com" userId="d746eee4a24a9cd1" providerId="LiveId" clId="{DCDBAD5D-85F1-401C-809E-6DF7B5241542}" dt="2022-11-30T22:22:53.233" v="423"/>
          <ac:picMkLst>
            <pc:docMk/>
            <pc:sldMk cId="1842391159" sldId="2147470052"/>
            <ac:picMk id="4" creationId="{C462B9B5-A0CB-0915-308E-88197C83E882}"/>
          </ac:picMkLst>
        </pc:picChg>
      </pc:sldChg>
      <pc:sldChg chg="addSp modSp add mod">
        <pc:chgData name="sarah-beth.powell@outlook.com" userId="d746eee4a24a9cd1" providerId="LiveId" clId="{DCDBAD5D-85F1-401C-809E-6DF7B5241542}" dt="2022-11-30T22:53:15.835" v="953" actId="1076"/>
        <pc:sldMkLst>
          <pc:docMk/>
          <pc:sldMk cId="782457656" sldId="2147470053"/>
        </pc:sldMkLst>
        <pc:spChg chg="add 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2" creationId="{B081A517-9093-D557-CCC8-72422DDB4CF3}"/>
          </ac:spMkLst>
        </pc:spChg>
        <pc:spChg chg="add mod">
          <ac:chgData name="sarah-beth.powell@outlook.com" userId="d746eee4a24a9cd1" providerId="LiveId" clId="{DCDBAD5D-85F1-401C-809E-6DF7B5241542}" dt="2022-11-30T22:30:55.874" v="937" actId="20577"/>
          <ac:spMkLst>
            <pc:docMk/>
            <pc:sldMk cId="782457656" sldId="2147470053"/>
            <ac:spMk id="4" creationId="{F5591BBB-A255-D29D-7DE4-7420290AB989}"/>
          </ac:spMkLst>
        </pc:spChg>
        <pc:spChg chg="add 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5" creationId="{A290F4D9-BEAC-015B-CB40-97F663783D98}"/>
          </ac:spMkLst>
        </pc:spChg>
        <pc:spChg chg="add 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6" creationId="{F4BA159B-DDE3-9832-7B3E-62827A78CF56}"/>
          </ac:spMkLst>
        </pc:spChg>
        <pc:spChg chg="add 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7" creationId="{46FABC1B-3510-2650-3651-10ED879985EC}"/>
          </ac:spMkLst>
        </pc:spChg>
        <pc:spChg chg="mod">
          <ac:chgData name="sarah-beth.powell@outlook.com" userId="d746eee4a24a9cd1" providerId="LiveId" clId="{DCDBAD5D-85F1-401C-809E-6DF7B5241542}" dt="2022-11-30T22:23:54.079" v="489" actId="20577"/>
          <ac:spMkLst>
            <pc:docMk/>
            <pc:sldMk cId="782457656" sldId="2147470053"/>
            <ac:spMk id="8" creationId="{05A96E7B-3D2E-4C40-AB13-E65299A25E25}"/>
          </ac:spMkLst>
        </pc:spChg>
        <pc:spChg chg="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9" creationId="{0D610797-3D23-4C1F-B662-1F4CBD325FC5}"/>
          </ac:spMkLst>
        </pc:spChg>
        <pc:spChg chg="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10" creationId="{40BFBEB8-561F-445D-B118-92666EEDF9BF}"/>
          </ac:spMkLst>
        </pc:spChg>
        <pc:spChg chg="add 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11" creationId="{A3EE4623-97CD-7A49-C2EE-8E3495CE2A5D}"/>
          </ac:spMkLst>
        </pc:spChg>
        <pc:spChg chg="mod">
          <ac:chgData name="sarah-beth.powell@outlook.com" userId="d746eee4a24a9cd1" providerId="LiveId" clId="{DCDBAD5D-85F1-401C-809E-6DF7B5241542}" dt="2022-11-30T22:30:39.816" v="911" actId="20577"/>
          <ac:spMkLst>
            <pc:docMk/>
            <pc:sldMk cId="782457656" sldId="2147470053"/>
            <ac:spMk id="12" creationId="{EA3EEAF1-64A0-4CBD-AA41-E3D17655B644}"/>
          </ac:spMkLst>
        </pc:spChg>
        <pc:spChg chg="mod">
          <ac:chgData name="sarah-beth.powell@outlook.com" userId="d746eee4a24a9cd1" providerId="LiveId" clId="{DCDBAD5D-85F1-401C-809E-6DF7B5241542}" dt="2022-11-30T22:30:33.304" v="909" actId="1076"/>
          <ac:spMkLst>
            <pc:docMk/>
            <pc:sldMk cId="782457656" sldId="2147470053"/>
            <ac:spMk id="13" creationId="{490CF4DD-CC95-488E-B659-EE1B39FC0448}"/>
          </ac:spMkLst>
        </pc:spChg>
        <pc:spChg chg="add 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14" creationId="{A19C5807-BD40-969F-836A-5E24A6E2EF19}"/>
          </ac:spMkLst>
        </pc:spChg>
        <pc:spChg chg="add mod">
          <ac:chgData name="sarah-beth.powell@outlook.com" userId="d746eee4a24a9cd1" providerId="LiveId" clId="{DCDBAD5D-85F1-401C-809E-6DF7B5241542}" dt="2022-11-30T22:28:29.432" v="902" actId="1076"/>
          <ac:spMkLst>
            <pc:docMk/>
            <pc:sldMk cId="782457656" sldId="2147470053"/>
            <ac:spMk id="15" creationId="{F7AEB6BC-007A-9FD4-CD5D-E1BADBAA8DBE}"/>
          </ac:spMkLst>
        </pc:spChg>
        <pc:spChg chg="add mod">
          <ac:chgData name="sarah-beth.powell@outlook.com" userId="d746eee4a24a9cd1" providerId="LiveId" clId="{DCDBAD5D-85F1-401C-809E-6DF7B5241542}" dt="2022-11-30T22:29:11.116" v="908" actId="14100"/>
          <ac:spMkLst>
            <pc:docMk/>
            <pc:sldMk cId="782457656" sldId="2147470053"/>
            <ac:spMk id="16" creationId="{48EF4007-1E58-E285-FF91-CD54A3386032}"/>
          </ac:spMkLst>
        </pc:spChg>
        <pc:spChg chg="add mod">
          <ac:chgData name="sarah-beth.powell@outlook.com" userId="d746eee4a24a9cd1" providerId="LiveId" clId="{DCDBAD5D-85F1-401C-809E-6DF7B5241542}" dt="2022-11-30T22:52:02.267" v="949" actId="14100"/>
          <ac:spMkLst>
            <pc:docMk/>
            <pc:sldMk cId="782457656" sldId="2147470053"/>
            <ac:spMk id="19" creationId="{FF9DE081-AA09-BB5E-709B-63AAB98C886B}"/>
          </ac:spMkLst>
        </pc:spChg>
        <pc:picChg chg="add mod">
          <ac:chgData name="sarah-beth.powell@outlook.com" userId="d746eee4a24a9cd1" providerId="LiveId" clId="{DCDBAD5D-85F1-401C-809E-6DF7B5241542}" dt="2022-11-30T22:50:55.043" v="941" actId="1076"/>
          <ac:picMkLst>
            <pc:docMk/>
            <pc:sldMk cId="782457656" sldId="2147470053"/>
            <ac:picMk id="18" creationId="{EC3932BE-FC4E-8236-1A83-F0D7447B8B2E}"/>
          </ac:picMkLst>
        </pc:picChg>
        <pc:picChg chg="add mod">
          <ac:chgData name="sarah-beth.powell@outlook.com" userId="d746eee4a24a9cd1" providerId="LiveId" clId="{DCDBAD5D-85F1-401C-809E-6DF7B5241542}" dt="2022-11-30T22:53:15.835" v="953" actId="1076"/>
          <ac:picMkLst>
            <pc:docMk/>
            <pc:sldMk cId="782457656" sldId="2147470053"/>
            <ac:picMk id="21" creationId="{C9479E5B-86CD-4099-E7AE-C0CBC8021FD6}"/>
          </ac:picMkLst>
        </pc:picChg>
      </pc:sldChg>
      <pc:sldChg chg="add del setBg">
        <pc:chgData name="sarah-beth.powell@outlook.com" userId="d746eee4a24a9cd1" providerId="LiveId" clId="{DCDBAD5D-85F1-401C-809E-6DF7B5241542}" dt="2022-11-30T22:23:08.174" v="425"/>
        <pc:sldMkLst>
          <pc:docMk/>
          <pc:sldMk cId="3686486907" sldId="2147470053"/>
        </pc:sldMkLst>
      </pc:sldChg>
      <pc:sldChg chg="add del setBg">
        <pc:chgData name="sarah-beth.powell@outlook.com" userId="d746eee4a24a9cd1" providerId="LiveId" clId="{DCDBAD5D-85F1-401C-809E-6DF7B5241542}" dt="2022-11-30T22:24:46.958" v="589"/>
        <pc:sldMkLst>
          <pc:docMk/>
          <pc:sldMk cId="2245625061" sldId="2147470054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1A038F-06D1-4781-9DBF-AEA9C5381221}" type="datetimeFigureOut">
              <a:rPr lang="en-US" smtClean="0"/>
              <a:t>11/30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293B39-3F96-4778-8FBA-79E2618FCFD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0820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8B24E-68CC-4604-B7AB-334BA09483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62900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8B24E-68CC-4604-B7AB-334BA09483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95295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8B24E-68CC-4604-B7AB-334BA09483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92743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8B24E-68CC-4604-B7AB-334BA09483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3687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rgbClr val="202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0D51B9-A61A-4FDC-9E0F-E2A63E0E942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303838" y="0"/>
            <a:ext cx="6888162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3129"/>
            <a:ext cx="11386134" cy="2215991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8000" b="1" baseline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18315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bg>
      <p:bgPr>
        <a:solidFill>
          <a:srgbClr val="202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89312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igh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E7C5D7A7-45E9-4756-B28B-644907783F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1447800"/>
            <a:ext cx="11406188" cy="495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C89E73A-8AF6-4995-85C4-948312F9A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2533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dark">
    <p:bg>
      <p:bgPr>
        <a:solidFill>
          <a:srgbClr val="202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3772800"/>
            <a:ext cx="11329987" cy="307777"/>
          </a:xfrm>
        </p:spPr>
        <p:txBody>
          <a:bodyPr lIns="0" tIns="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64961"/>
            <a:ext cx="11329987" cy="1477328"/>
          </a:xfrm>
        </p:spPr>
        <p:txBody>
          <a:bodyPr lIns="0" bIns="0" anchor="b" anchorCtr="0">
            <a:spAutoFit/>
          </a:bodyPr>
          <a:lstStyle>
            <a:lvl1pPr algn="l">
              <a:lnSpc>
                <a:spcPct val="80000"/>
              </a:lnSpc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744C52A-2030-4EFF-B1D2-B60B2B2798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4813" y="1825079"/>
            <a:ext cx="4611067" cy="307777"/>
          </a:xfrm>
        </p:spPr>
        <p:txBody>
          <a:bodyPr wrap="square" anchor="b">
            <a:spAutoFit/>
          </a:bodyPr>
          <a:lstStyle>
            <a:lvl1pPr>
              <a:defRPr>
                <a:solidFill>
                  <a:schemeClr val="accent2"/>
                </a:solidFill>
                <a:latin typeface="Ubuntu Light" panose="020B0304030602030204" pitchFamily="34" charset="0"/>
              </a:defRPr>
            </a:lvl1pPr>
            <a:lvl2pPr marL="88900" indent="0">
              <a:buNone/>
              <a:defRPr/>
            </a:lvl2pPr>
          </a:lstStyle>
          <a:p>
            <a:pPr lvl="0"/>
            <a:r>
              <a:rPr lang="fr-FR"/>
              <a:t>INSERT A LABEL/ALBEIT</a:t>
            </a:r>
          </a:p>
        </p:txBody>
      </p:sp>
    </p:spTree>
    <p:extLst>
      <p:ext uri="{BB962C8B-B14F-4D97-AF65-F5344CB8AC3E}">
        <p14:creationId xmlns:p14="http://schemas.microsoft.com/office/powerpoint/2010/main" val="8078850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ull screen image">
    <p:bg>
      <p:bgPr>
        <a:solidFill>
          <a:srgbClr val="202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B0CAFF-8B20-4B52-A18C-BFD139761B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1951673"/>
            <a:ext cx="4562475" cy="2954655"/>
          </a:xfrm>
        </p:spPr>
        <p:txBody>
          <a:bodyPr vert="horz" wrap="square" lIns="72000" tIns="0" rIns="0" bIns="0" rtlCol="0" anchor="ctr">
            <a:spAutoFit/>
          </a:bodyPr>
          <a:lstStyle>
            <a:lvl1pPr>
              <a:lnSpc>
                <a:spcPct val="80000"/>
              </a:lnSpc>
              <a:defRPr lang="en-GB" sz="6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71559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96421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Full Picture">
    <p:bg>
      <p:bgPr>
        <a:solidFill>
          <a:srgbClr val="202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847127"/>
            <a:ext cx="11386134" cy="1661993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6000" b="1" baseline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34631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447201"/>
            <a:ext cx="11379201" cy="502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06B5C2B-B0BF-4136-9EC7-0E7F54D1D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037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899138"/>
            <a:ext cx="11379201" cy="45706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4576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6267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4576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38903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2205318"/>
            <a:ext cx="5600701" cy="4257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2" y="1327151"/>
            <a:ext cx="5600701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  <a:latin typeface="Ubuntu" panose="020B0504030602030204" pitchFamily="34" charset="0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6013" y="1327151"/>
            <a:ext cx="5588001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  <a:latin typeface="Ubuntu" panose="020B0504030602030204" pitchFamily="34" charset="0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6013" y="2205318"/>
            <a:ext cx="5594351" cy="42573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96D1AE-BB05-402A-8454-CE893B604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43187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3" y="1327151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rgbClr val="12ABDB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71047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1047" y="1327151"/>
            <a:ext cx="3456432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rgbClr val="12ABDB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30755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30755" y="1327151"/>
            <a:ext cx="3456432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rgbClr val="12ABDB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94515F3-E20E-47CC-8314-0A030AB3D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28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7B9A63D1-B6C5-4F10-ABD1-7445EB2D8ADC}"/>
              </a:ext>
            </a:extLst>
          </p:cNvPr>
          <p:cNvSpPr/>
          <p:nvPr userDrawn="1"/>
        </p:nvSpPr>
        <p:spPr>
          <a:xfrm>
            <a:off x="407988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9DEBB0-4052-42E9-B8A1-20FEA957F747}"/>
              </a:ext>
            </a:extLst>
          </p:cNvPr>
          <p:cNvSpPr/>
          <p:nvPr userDrawn="1"/>
        </p:nvSpPr>
        <p:spPr>
          <a:xfrm>
            <a:off x="4333875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0917E2-630D-4941-BA4B-7EB65D4A7850}"/>
              </a:ext>
            </a:extLst>
          </p:cNvPr>
          <p:cNvSpPr/>
          <p:nvPr userDrawn="1"/>
        </p:nvSpPr>
        <p:spPr>
          <a:xfrm>
            <a:off x="8259763" y="2406300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E9BC27-7262-47DA-99EA-4AB1F52A8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016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BBF7568-EC18-40A1-B3C2-1E64D0BFDEF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50903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2EA657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C0A1379-EE65-47B3-B113-45D1ED57400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576791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BA2980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24DC023-E500-4824-A661-003A568299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015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B1037A2D-940F-4255-984B-C4A7AABBB72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650903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2EA657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2EA657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2EA657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2EA657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849E3D5-EF9E-46F2-9C73-58806A392B3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576791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8A66D25-366C-4142-B5D9-9A4107D8B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22882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7F0C9DF-D1FA-45A1-91F6-147FDC3E7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39173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9757867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4813" y="1327150"/>
            <a:ext cx="11376880" cy="5135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04813" y="388188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TITLE</a:t>
            </a:r>
            <a:endParaRPr lang="en-US"/>
          </a:p>
        </p:txBody>
      </p:sp>
      <p:sp>
        <p:nvSpPr>
          <p:cNvPr id="65" name="Rectangle 27">
            <a:extLst>
              <a:ext uri="{FF2B5EF4-FFF2-40B4-BE49-F238E27FC236}">
                <a16:creationId xmlns:a16="http://schemas.microsoft.com/office/drawing/2014/main" id="{5B538C81-213B-41EC-BB81-FEF313C9D880}"/>
              </a:ext>
            </a:extLst>
          </p:cNvPr>
          <p:cNvSpPr/>
          <p:nvPr userDrawn="1"/>
        </p:nvSpPr>
        <p:spPr>
          <a:xfrm>
            <a:off x="404813" y="6517871"/>
            <a:ext cx="341084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 dirty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Sarah Beth Powell | Exploratory Data Analysis</a:t>
            </a:r>
          </a:p>
        </p:txBody>
      </p:sp>
      <p:sp>
        <p:nvSpPr>
          <p:cNvPr id="86" name="Retângulo 43">
            <a:extLst>
              <a:ext uri="{FF2B5EF4-FFF2-40B4-BE49-F238E27FC236}">
                <a16:creationId xmlns:a16="http://schemas.microsoft.com/office/drawing/2014/main" id="{5539996C-DD2A-49D6-AFB0-763FCB2EE440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80E85D-EB3B-0005-D6A1-4003D4BA35E2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4735" y="124898"/>
            <a:ext cx="433916" cy="433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159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6" r:id="rId14"/>
  </p:sldLayoutIdLst>
  <p:hf hdr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600" b="0" i="0" u="none" strike="noStrike" kern="1200" cap="all" spc="0" normalizeH="0" baseline="0" noProof="0" dirty="0">
          <a:ln>
            <a:noFill/>
          </a:ln>
          <a:solidFill>
            <a:schemeClr val="accent4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2pPr>
      <a:lvl3pPr marL="361950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3pPr>
      <a:lvl4pPr marL="5397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Ubuntu" panose="020B0504030602030204" pitchFamily="34" charset="0"/>
        <a:buChar char="–"/>
        <a:defRPr sz="1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4pPr>
      <a:lvl5pPr marL="7175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4071">
          <p15:clr>
            <a:srgbClr val="F26B43"/>
          </p15:clr>
        </p15:guide>
        <p15:guide id="4" pos="255">
          <p15:clr>
            <a:srgbClr val="F26B43"/>
          </p15:clr>
        </p15:guide>
        <p15:guide id="5" orient="horz" pos="836">
          <p15:clr>
            <a:srgbClr val="F26B43"/>
          </p15:clr>
        </p15:guide>
        <p15:guide id="6" orient="horz" pos="245">
          <p15:clr>
            <a:srgbClr val="F26B43"/>
          </p15:clr>
        </p15:guide>
        <p15:guide id="7" pos="3840">
          <p15:clr>
            <a:srgbClr val="F26B43"/>
          </p15:clr>
        </p15:guide>
        <p15:guide id="8" pos="3899">
          <p15:clr>
            <a:srgbClr val="F26B43"/>
          </p15:clr>
        </p15:guide>
        <p15:guide id="9" pos="378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ndocrine.org/news-and-advocacy/news-room/2021/treating-polycystic-ovary-syndrome-costs-8-billion-a-year-in-us-alone#:~:text=The%20most%20common%20hormone%20disorder,Journal%20of%20Clinical%20Endocrinology%20%26%20Metabolism." TargetMode="Externa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www.kaggle.com/datasets/prasoonkottarathil/polycystic-ovary-syndrome-pcos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powellsarahbeth.shinyapps.io/PCOS_Diagnostic_Tool?_ga=2.89588499.968017502.1669842079-1712974614.1669842079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B2374A2-E20D-32F7-5D9D-DABED0E58E5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95" r="19295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7C8B8CF-E940-A5F2-22BE-D7CF4616F2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600164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R Shiny Web Application </a:t>
            </a:r>
          </a:p>
          <a:p>
            <a:r>
              <a:rPr lang="en-US" sz="1400" dirty="0">
                <a:solidFill>
                  <a:srgbClr val="7088B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ept 2022 Cohort | Sarah Beth Powel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0307B8-CA0B-530E-BE9F-91A660AB5E42}"/>
              </a:ext>
            </a:extLst>
          </p:cNvPr>
          <p:cNvSpPr/>
          <p:nvPr/>
        </p:nvSpPr>
        <p:spPr>
          <a:xfrm>
            <a:off x="5300132" y="0"/>
            <a:ext cx="6891867" cy="6858000"/>
          </a:xfrm>
          <a:prstGeom prst="rect">
            <a:avLst/>
          </a:prstGeom>
          <a:solidFill>
            <a:srgbClr val="7088B0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67BEDFB-4C70-B634-E765-665C7EC349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7813" y="1634023"/>
            <a:ext cx="9247187" cy="1994392"/>
          </a:xfrm>
        </p:spPr>
        <p:txBody>
          <a:bodyPr/>
          <a:lstStyle/>
          <a:p>
            <a:r>
              <a:rPr lang="en-US" sz="4800" dirty="0">
                <a:latin typeface="Roboto" panose="02000000000000000000" pitchFamily="2" charset="0"/>
                <a:ea typeface="Roboto" panose="02000000000000000000" pitchFamily="2" charset="0"/>
              </a:rPr>
              <a:t>Polycystic Ovarian Syndrome Diagnostic </a:t>
            </a:r>
            <a:br>
              <a:rPr lang="en-US" sz="4800" dirty="0"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 sz="4800" dirty="0">
                <a:latin typeface="Roboto" panose="02000000000000000000" pitchFamily="2" charset="0"/>
                <a:ea typeface="Roboto" panose="02000000000000000000" pitchFamily="2" charset="0"/>
              </a:rPr>
              <a:t>Tool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A74B38F-C118-0B60-FDBE-41FDE0FE8C4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8293" y="192311"/>
            <a:ext cx="544674" cy="544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7964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3000"/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4B7F11F-1776-4F29-2718-B3ED3151C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2" y="388188"/>
            <a:ext cx="4876314" cy="880775"/>
          </a:xfrm>
        </p:spPr>
        <p:txBody>
          <a:bodyPr/>
          <a:lstStyle/>
          <a:p>
            <a:r>
              <a:rPr lang="en-US" sz="3600" b="1" dirty="0">
                <a:solidFill>
                  <a:srgbClr val="202A44"/>
                </a:solidFill>
              </a:rPr>
              <a:t>What you should know about 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D26B3D11-8C7A-98BB-338F-15657BAA4B5B}"/>
              </a:ext>
            </a:extLst>
          </p:cNvPr>
          <p:cNvSpPr txBox="1">
            <a:spLocks/>
          </p:cNvSpPr>
          <p:nvPr/>
        </p:nvSpPr>
        <p:spPr>
          <a:xfrm>
            <a:off x="3892906" y="509486"/>
            <a:ext cx="4876314" cy="75947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6600" dirty="0">
                <a:solidFill>
                  <a:srgbClr val="7088B0"/>
                </a:solidFill>
              </a:rPr>
              <a:t>PCOS</a:t>
            </a:r>
          </a:p>
          <a:p>
            <a:pPr algn="ctr"/>
            <a:r>
              <a:rPr lang="en-US" sz="1100" dirty="0">
                <a:solidFill>
                  <a:srgbClr val="7088B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(Polycystic ovary syndrome)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96DABDD-3250-1E81-CD18-8302FEA4135C}"/>
              </a:ext>
            </a:extLst>
          </p:cNvPr>
          <p:cNvSpPr/>
          <p:nvPr/>
        </p:nvSpPr>
        <p:spPr>
          <a:xfrm>
            <a:off x="423715" y="1740434"/>
            <a:ext cx="7591281" cy="1912776"/>
          </a:xfrm>
          <a:prstGeom prst="roundRect">
            <a:avLst/>
          </a:prstGeom>
          <a:noFill/>
          <a:ln w="28575">
            <a:solidFill>
              <a:srgbClr val="202A4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202A44"/>
                </a:solidFill>
              </a:rPr>
              <a:t>Affecting an estimated 5 to 6 million women in the United States, </a:t>
            </a:r>
            <a:r>
              <a:rPr lang="en-US" dirty="0">
                <a:solidFill>
                  <a:srgbClr val="7088B0"/>
                </a:solidFill>
              </a:rPr>
              <a:t>PCOS</a:t>
            </a:r>
            <a:r>
              <a:rPr lang="en-US" dirty="0">
                <a:solidFill>
                  <a:srgbClr val="202A44"/>
                </a:solidFill>
              </a:rPr>
              <a:t> is the most common cause for infertility. The </a:t>
            </a:r>
            <a:r>
              <a:rPr lang="en-US" dirty="0">
                <a:solidFill>
                  <a:srgbClr val="7088B0"/>
                </a:solidFill>
              </a:rPr>
              <a:t>exact cause of PCOS is unknown</a:t>
            </a:r>
            <a:r>
              <a:rPr lang="en-US" dirty="0">
                <a:solidFill>
                  <a:srgbClr val="202A44"/>
                </a:solidFill>
              </a:rPr>
              <a:t>, but research suggests that elevated levels of androgens and insulin maybe related to the condition. PCOS impacts women of all ages, even post-child bearing age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81BDF7-CDF5-81D5-BB14-62A131CCF669}"/>
              </a:ext>
            </a:extLst>
          </p:cNvPr>
          <p:cNvSpPr txBox="1"/>
          <p:nvPr/>
        </p:nvSpPr>
        <p:spPr>
          <a:xfrm>
            <a:off x="818227" y="1555768"/>
            <a:ext cx="1710369" cy="369332"/>
          </a:xfrm>
          <a:prstGeom prst="rect">
            <a:avLst/>
          </a:prstGeom>
          <a:solidFill>
            <a:srgbClr val="FCFCFD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hat is </a:t>
            </a:r>
            <a:r>
              <a:rPr lang="en-US" dirty="0">
                <a:solidFill>
                  <a:srgbClr val="7088B0"/>
                </a:solidFill>
              </a:rPr>
              <a:t>PCOS</a:t>
            </a:r>
            <a:r>
              <a:rPr lang="en-US" dirty="0"/>
              <a:t>?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4FE7E78-9AFD-CBCE-0186-FC95722BCF72}"/>
              </a:ext>
            </a:extLst>
          </p:cNvPr>
          <p:cNvCxnSpPr/>
          <p:nvPr/>
        </p:nvCxnSpPr>
        <p:spPr>
          <a:xfrm>
            <a:off x="541176" y="3984171"/>
            <a:ext cx="10898155" cy="0"/>
          </a:xfrm>
          <a:prstGeom prst="line">
            <a:avLst/>
          </a:prstGeom>
          <a:ln w="28575">
            <a:solidFill>
              <a:srgbClr val="7088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F7DCECC-BDC5-A605-8520-DFB84AC15A0C}"/>
              </a:ext>
            </a:extLst>
          </p:cNvPr>
          <p:cNvCxnSpPr/>
          <p:nvPr/>
        </p:nvCxnSpPr>
        <p:spPr>
          <a:xfrm>
            <a:off x="550507" y="6058677"/>
            <a:ext cx="10898155" cy="0"/>
          </a:xfrm>
          <a:prstGeom prst="line">
            <a:avLst/>
          </a:prstGeom>
          <a:ln w="28575">
            <a:solidFill>
              <a:srgbClr val="7088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EF6B309-8465-CD10-5E0A-AD74D9F3DF0F}"/>
              </a:ext>
            </a:extLst>
          </p:cNvPr>
          <p:cNvCxnSpPr/>
          <p:nvPr/>
        </p:nvCxnSpPr>
        <p:spPr>
          <a:xfrm>
            <a:off x="5756988" y="4142792"/>
            <a:ext cx="0" cy="176348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7962B3D-5F83-90C5-7F13-E095F174D0F5}"/>
              </a:ext>
            </a:extLst>
          </p:cNvPr>
          <p:cNvSpPr txBox="1"/>
          <p:nvPr/>
        </p:nvSpPr>
        <p:spPr>
          <a:xfrm>
            <a:off x="636523" y="4013876"/>
            <a:ext cx="3823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926B"/>
                </a:solidFill>
              </a:rPr>
              <a:t>Common Symptoms &amp; Impac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CDA8088-E9E2-3A56-7A12-F4932C8DE143}"/>
              </a:ext>
            </a:extLst>
          </p:cNvPr>
          <p:cNvSpPr txBox="1"/>
          <p:nvPr/>
        </p:nvSpPr>
        <p:spPr>
          <a:xfrm>
            <a:off x="651367" y="4304351"/>
            <a:ext cx="483325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02A44"/>
                </a:solidFill>
              </a:rPr>
              <a:t>Excess hair growth on face &amp; body</a:t>
            </a:r>
          </a:p>
          <a:p>
            <a:r>
              <a:rPr lang="en-US" dirty="0">
                <a:solidFill>
                  <a:srgbClr val="202A44"/>
                </a:solidFill>
              </a:rPr>
              <a:t>Irregular cycles &amp; Infertility</a:t>
            </a:r>
          </a:p>
          <a:p>
            <a:r>
              <a:rPr lang="en-US" dirty="0">
                <a:solidFill>
                  <a:srgbClr val="202A44"/>
                </a:solidFill>
              </a:rPr>
              <a:t>Weight gain </a:t>
            </a:r>
          </a:p>
          <a:p>
            <a:r>
              <a:rPr lang="en-US" dirty="0">
                <a:solidFill>
                  <a:srgbClr val="202A44"/>
                </a:solidFill>
              </a:rPr>
              <a:t>Acne</a:t>
            </a:r>
          </a:p>
          <a:p>
            <a:r>
              <a:rPr lang="en-US" dirty="0">
                <a:solidFill>
                  <a:srgbClr val="202A44"/>
                </a:solidFill>
              </a:rPr>
              <a:t>Diabetes</a:t>
            </a:r>
          </a:p>
          <a:p>
            <a:r>
              <a:rPr lang="en-US" dirty="0">
                <a:solidFill>
                  <a:srgbClr val="202A44"/>
                </a:solidFill>
              </a:rPr>
              <a:t>Heart Diseas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C268A82-15F2-9458-F3C7-E4D66328C691}"/>
              </a:ext>
            </a:extLst>
          </p:cNvPr>
          <p:cNvSpPr txBox="1"/>
          <p:nvPr/>
        </p:nvSpPr>
        <p:spPr>
          <a:xfrm>
            <a:off x="5999584" y="4013876"/>
            <a:ext cx="382350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7088B0"/>
                </a:solidFill>
              </a:rPr>
              <a:t>An estimated </a:t>
            </a:r>
          </a:p>
          <a:p>
            <a:r>
              <a:rPr lang="en-US" sz="2400" b="1" dirty="0">
                <a:solidFill>
                  <a:srgbClr val="FF926B"/>
                </a:solidFill>
              </a:rPr>
              <a:t>$8 Billion </a:t>
            </a:r>
          </a:p>
          <a:p>
            <a:r>
              <a:rPr lang="en-US" sz="2400" b="1" dirty="0">
                <a:solidFill>
                  <a:srgbClr val="7088B0"/>
                </a:solidFill>
              </a:rPr>
              <a:t>was spent to diagnose &amp; treat PCOS just in the year 2020.</a:t>
            </a:r>
            <a:endParaRPr lang="en-US" sz="2400" b="1" baseline="30000" dirty="0">
              <a:solidFill>
                <a:srgbClr val="7088B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FD4BFB5-B1FD-B8D6-3E61-CD6EFAB70727}"/>
              </a:ext>
            </a:extLst>
          </p:cNvPr>
          <p:cNvSpPr txBox="1"/>
          <p:nvPr/>
        </p:nvSpPr>
        <p:spPr>
          <a:xfrm>
            <a:off x="9363513" y="6446749"/>
            <a:ext cx="24397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7088B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ference to Endocrine Society</a:t>
            </a:r>
            <a:endParaRPr lang="en-US" sz="1100" dirty="0">
              <a:solidFill>
                <a:srgbClr val="7088B0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C88DD79-22A0-C666-4768-966661C93F68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0888" y="24294"/>
            <a:ext cx="544674" cy="544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534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0C9A529-2999-6066-A6E4-87B934B7BC6A}"/>
              </a:ext>
            </a:extLst>
          </p:cNvPr>
          <p:cNvSpPr/>
          <p:nvPr/>
        </p:nvSpPr>
        <p:spPr>
          <a:xfrm>
            <a:off x="-1588" y="0"/>
            <a:ext cx="12192000" cy="1362269"/>
          </a:xfrm>
          <a:prstGeom prst="rect">
            <a:avLst/>
          </a:prstGeom>
          <a:solidFill>
            <a:srgbClr val="708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05A96E7B-3D2E-4C40-AB13-E65299A25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572393"/>
            <a:ext cx="10947772" cy="348300"/>
          </a:xfrm>
        </p:spPr>
        <p:txBody>
          <a:bodyPr/>
          <a:lstStyle/>
          <a:p>
            <a:r>
              <a:rPr lang="en-US" sz="2800" dirty="0"/>
              <a:t>About th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AF4DA8-C3DF-3C72-7FDB-A0B2ADD897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316" y="2382531"/>
            <a:ext cx="5582975" cy="303855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3092D20-8832-1654-A468-8DD30BE96654}"/>
              </a:ext>
            </a:extLst>
          </p:cNvPr>
          <p:cNvSpPr txBox="1"/>
          <p:nvPr/>
        </p:nvSpPr>
        <p:spPr>
          <a:xfrm>
            <a:off x="6620136" y="2056122"/>
            <a:ext cx="4982548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926B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ggle PCOS Data</a:t>
            </a:r>
            <a:r>
              <a:rPr lang="en-US" sz="2000" b="1" dirty="0">
                <a:solidFill>
                  <a:srgbClr val="FF926B"/>
                </a:solidFill>
              </a:rPr>
              <a:t> </a:t>
            </a:r>
            <a:r>
              <a:rPr lang="en-US" sz="2000" b="1" dirty="0">
                <a:solidFill>
                  <a:srgbClr val="7088B0"/>
                </a:solidFill>
              </a:rPr>
              <a:t>was collected from 10 different hospitals across Kerala, India. </a:t>
            </a:r>
          </a:p>
          <a:p>
            <a:endParaRPr lang="en-US" sz="2000" b="1" dirty="0">
              <a:solidFill>
                <a:srgbClr val="7088B0"/>
              </a:solidFill>
            </a:endParaRPr>
          </a:p>
          <a:p>
            <a:r>
              <a:rPr lang="en-US" sz="2000" b="1" dirty="0">
                <a:solidFill>
                  <a:srgbClr val="7088B0"/>
                </a:solidFill>
              </a:rPr>
              <a:t>Two different files containing </a:t>
            </a:r>
            <a:r>
              <a:rPr lang="en-US" sz="2000" b="1" dirty="0">
                <a:solidFill>
                  <a:srgbClr val="FF926B"/>
                </a:solidFill>
              </a:rPr>
              <a:t>infertility &amp; fertility patient data </a:t>
            </a:r>
            <a:r>
              <a:rPr lang="en-US" sz="2000" b="1" dirty="0">
                <a:solidFill>
                  <a:srgbClr val="7088B0"/>
                </a:solidFill>
              </a:rPr>
              <a:t>in a Comma Separated Value (CSV) file and an Excel file.</a:t>
            </a:r>
          </a:p>
          <a:p>
            <a:endParaRPr lang="en-US" sz="2000" b="1" dirty="0">
              <a:solidFill>
                <a:srgbClr val="7088B0"/>
              </a:solidFill>
            </a:endParaRPr>
          </a:p>
          <a:p>
            <a:r>
              <a:rPr lang="en-US" sz="2000" b="1" dirty="0">
                <a:solidFill>
                  <a:srgbClr val="FF926B"/>
                </a:solidFill>
              </a:rPr>
              <a:t>45 features </a:t>
            </a:r>
            <a:r>
              <a:rPr lang="en-US" sz="2000" b="1" dirty="0">
                <a:solidFill>
                  <a:srgbClr val="7088B0"/>
                </a:solidFill>
              </a:rPr>
              <a:t>included in the fertility dataset which includes various hormone levels from blood tests and symptoms of the patients.</a:t>
            </a:r>
          </a:p>
          <a:p>
            <a:endParaRPr lang="en-US" sz="2400" b="1" baseline="30000" dirty="0">
              <a:solidFill>
                <a:srgbClr val="7088B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93661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0C9A529-2999-6066-A6E4-87B934B7BC6A}"/>
              </a:ext>
            </a:extLst>
          </p:cNvPr>
          <p:cNvSpPr/>
          <p:nvPr/>
        </p:nvSpPr>
        <p:spPr>
          <a:xfrm>
            <a:off x="-1588" y="0"/>
            <a:ext cx="12192000" cy="1362269"/>
          </a:xfrm>
          <a:prstGeom prst="rect">
            <a:avLst/>
          </a:prstGeom>
          <a:solidFill>
            <a:srgbClr val="708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05A96E7B-3D2E-4C40-AB13-E65299A25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572393"/>
            <a:ext cx="10947772" cy="348300"/>
          </a:xfrm>
        </p:spPr>
        <p:txBody>
          <a:bodyPr/>
          <a:lstStyle/>
          <a:p>
            <a:r>
              <a:rPr lang="en-US" sz="2800" dirty="0"/>
              <a:t>Objectiv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D610797-3D23-4C1F-B662-1F4CBD325FC5}"/>
              </a:ext>
            </a:extLst>
          </p:cNvPr>
          <p:cNvSpPr txBox="1">
            <a:spLocks/>
          </p:cNvSpPr>
          <p:nvPr/>
        </p:nvSpPr>
        <p:spPr>
          <a:xfrm>
            <a:off x="2453482" y="3601611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BFBEB8-561F-445D-B118-92666EEDF9BF}"/>
              </a:ext>
            </a:extLst>
          </p:cNvPr>
          <p:cNvSpPr txBox="1">
            <a:spLocks/>
          </p:cNvSpPr>
          <p:nvPr/>
        </p:nvSpPr>
        <p:spPr>
          <a:xfrm>
            <a:off x="2453482" y="2464888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A3EEAF1-64A0-4CBD-AA41-E3D17655B644}"/>
              </a:ext>
            </a:extLst>
          </p:cNvPr>
          <p:cNvSpPr txBox="1"/>
          <p:nvPr/>
        </p:nvSpPr>
        <p:spPr>
          <a:xfrm>
            <a:off x="2889192" y="3670915"/>
            <a:ext cx="78619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Create a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88B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tool </a:t>
            </a:r>
            <a:r>
              <a:rPr lang="en-US" sz="2000" dirty="0">
                <a:solidFill>
                  <a:srgbClr val="202A44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o assist providers in diagnosing PCO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90CF4DD-CC95-488E-B659-EE1B39FC0448}"/>
              </a:ext>
            </a:extLst>
          </p:cNvPr>
          <p:cNvSpPr txBox="1"/>
          <p:nvPr/>
        </p:nvSpPr>
        <p:spPr>
          <a:xfrm>
            <a:off x="2889192" y="2534192"/>
            <a:ext cx="78619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ea typeface="+mn-ea"/>
                <a:cs typeface="+mn-cs"/>
              </a:rPr>
              <a:t>Create a logistic regression </a:t>
            </a:r>
            <a:r>
              <a:rPr lang="en-US" sz="2000" b="1" dirty="0">
                <a:solidFill>
                  <a:srgbClr val="7088B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ode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ea typeface="+mn-ea"/>
                <a:cs typeface="+mn-cs"/>
              </a:rPr>
              <a:t> which predicts the probability of PCOS diagnosis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02A44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67675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088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7E54E0-D061-39DE-2462-9FDFF69166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9748" y="2040523"/>
            <a:ext cx="4611067" cy="430887"/>
          </a:xfrm>
        </p:spPr>
        <p:txBody>
          <a:bodyPr/>
          <a:lstStyle/>
          <a:p>
            <a:r>
              <a:rPr lang="en-US" sz="2800" dirty="0">
                <a:solidFill>
                  <a:schemeClr val="bg1"/>
                </a:solidFill>
                <a:latin typeface="+mn-lt"/>
              </a:rPr>
              <a:t>Objective 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1EDC71-E486-45A5-1F27-E91466FFA99B}"/>
              </a:ext>
            </a:extLst>
          </p:cNvPr>
          <p:cNvSpPr txBox="1"/>
          <p:nvPr/>
        </p:nvSpPr>
        <p:spPr>
          <a:xfrm>
            <a:off x="493160" y="2583496"/>
            <a:ext cx="864313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srgbClr val="202A44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reate a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logistic regression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model.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02A44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076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0C9A529-2999-6066-A6E4-87B934B7BC6A}"/>
              </a:ext>
            </a:extLst>
          </p:cNvPr>
          <p:cNvSpPr/>
          <p:nvPr/>
        </p:nvSpPr>
        <p:spPr>
          <a:xfrm>
            <a:off x="-1588" y="0"/>
            <a:ext cx="12192000" cy="1362269"/>
          </a:xfrm>
          <a:prstGeom prst="rect">
            <a:avLst/>
          </a:prstGeom>
          <a:solidFill>
            <a:srgbClr val="708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05A96E7B-3D2E-4C40-AB13-E65299A25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572393"/>
            <a:ext cx="10947772" cy="348300"/>
          </a:xfrm>
        </p:spPr>
        <p:txBody>
          <a:bodyPr/>
          <a:lstStyle/>
          <a:p>
            <a:r>
              <a:rPr lang="en-US" sz="2800" dirty="0"/>
              <a:t>Model Creation &amp; Evaluation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D610797-3D23-4C1F-B662-1F4CBD325FC5}"/>
              </a:ext>
            </a:extLst>
          </p:cNvPr>
          <p:cNvSpPr txBox="1">
            <a:spLocks/>
          </p:cNvSpPr>
          <p:nvPr/>
        </p:nvSpPr>
        <p:spPr>
          <a:xfrm>
            <a:off x="531550" y="2595384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 Medium"/>
                <a:ea typeface="+mn-ea"/>
                <a:cs typeface="+mn-cs"/>
              </a:rPr>
              <a:t>2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BFBEB8-561F-445D-B118-92666EEDF9BF}"/>
              </a:ext>
            </a:extLst>
          </p:cNvPr>
          <p:cNvSpPr txBox="1">
            <a:spLocks/>
          </p:cNvSpPr>
          <p:nvPr/>
        </p:nvSpPr>
        <p:spPr>
          <a:xfrm>
            <a:off x="531550" y="1834580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 Medium"/>
                <a:ea typeface="+mn-ea"/>
                <a:cs typeface="+mn-cs"/>
              </a:rPr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A3EEAF1-64A0-4CBD-AA41-E3D17655B644}"/>
              </a:ext>
            </a:extLst>
          </p:cNvPr>
          <p:cNvSpPr txBox="1"/>
          <p:nvPr/>
        </p:nvSpPr>
        <p:spPr>
          <a:xfrm>
            <a:off x="823422" y="2664688"/>
            <a:ext cx="53911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Create a ‘reduced saturated model’ with features with VIF &lt; 5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90CF4DD-CC95-488E-B659-EE1B39FC0448}"/>
              </a:ext>
            </a:extLst>
          </p:cNvPr>
          <p:cNvSpPr txBox="1"/>
          <p:nvPr/>
        </p:nvSpPr>
        <p:spPr>
          <a:xfrm>
            <a:off x="823422" y="1953482"/>
            <a:ext cx="5391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Create a saturated model. 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02A44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081A517-9093-D557-CCC8-72422DDB4CF3}"/>
              </a:ext>
            </a:extLst>
          </p:cNvPr>
          <p:cNvSpPr txBox="1">
            <a:spLocks/>
          </p:cNvSpPr>
          <p:nvPr/>
        </p:nvSpPr>
        <p:spPr>
          <a:xfrm>
            <a:off x="531550" y="3356188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 Medium"/>
                <a:ea typeface="+mn-ea"/>
                <a:cs typeface="+mn-cs"/>
              </a:rPr>
              <a:t>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591BBB-A255-D29D-7DE4-7420290AB989}"/>
              </a:ext>
            </a:extLst>
          </p:cNvPr>
          <p:cNvSpPr txBox="1"/>
          <p:nvPr/>
        </p:nvSpPr>
        <p:spPr>
          <a:xfrm>
            <a:off x="823422" y="3425492"/>
            <a:ext cx="53911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Remove most significant feature with the lowest p-value to create another model. 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290F4D9-BEAC-015B-CB40-97F663783D98}"/>
              </a:ext>
            </a:extLst>
          </p:cNvPr>
          <p:cNvSpPr txBox="1">
            <a:spLocks/>
          </p:cNvSpPr>
          <p:nvPr/>
        </p:nvSpPr>
        <p:spPr>
          <a:xfrm>
            <a:off x="531550" y="4116992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 Medium"/>
                <a:ea typeface="+mn-ea"/>
                <a:cs typeface="+mn-cs"/>
              </a:rPr>
              <a:t>4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4BA159B-DDE3-9832-7B3E-62827A78CF56}"/>
              </a:ext>
            </a:extLst>
          </p:cNvPr>
          <p:cNvSpPr txBox="1"/>
          <p:nvPr/>
        </p:nvSpPr>
        <p:spPr>
          <a:xfrm>
            <a:off x="823422" y="4247641"/>
            <a:ext cx="5391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Create a model with only significant features. 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6FABC1B-3510-2650-3651-10ED879985EC}"/>
              </a:ext>
            </a:extLst>
          </p:cNvPr>
          <p:cNvSpPr txBox="1">
            <a:spLocks/>
          </p:cNvSpPr>
          <p:nvPr/>
        </p:nvSpPr>
        <p:spPr>
          <a:xfrm>
            <a:off x="531550" y="4877796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 Medium"/>
                <a:ea typeface="+mn-ea"/>
                <a:cs typeface="+mn-cs"/>
              </a:rPr>
              <a:t>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EE4623-97CD-7A49-C2EE-8E3495CE2A5D}"/>
              </a:ext>
            </a:extLst>
          </p:cNvPr>
          <p:cNvSpPr txBox="1"/>
          <p:nvPr/>
        </p:nvSpPr>
        <p:spPr>
          <a:xfrm>
            <a:off x="823422" y="4947100"/>
            <a:ext cx="53911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Using stepwise selection, create a model with minimal AIC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19C5807-BD40-969F-836A-5E24A6E2EF19}"/>
              </a:ext>
            </a:extLst>
          </p:cNvPr>
          <p:cNvSpPr txBox="1">
            <a:spLocks/>
          </p:cNvSpPr>
          <p:nvPr/>
        </p:nvSpPr>
        <p:spPr>
          <a:xfrm>
            <a:off x="531550" y="5638600"/>
            <a:ext cx="291872" cy="538718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2">
                    <a:lumMod val="50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latin typeface="Roboto Medium"/>
                <a:ea typeface="+mn-ea"/>
                <a:cs typeface="+mn-cs"/>
              </a:rPr>
              <a:t>6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7AEB6BC-007A-9FD4-CD5D-E1BADBAA8DBE}"/>
              </a:ext>
            </a:extLst>
          </p:cNvPr>
          <p:cNvSpPr txBox="1"/>
          <p:nvPr/>
        </p:nvSpPr>
        <p:spPr>
          <a:xfrm>
            <a:off x="823422" y="5738682"/>
            <a:ext cx="62377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Evaluate with AIC, BIC, McFadden’s Pseudo R Squared. 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8EF4007-1E58-E285-FF91-CD54A3386032}"/>
              </a:ext>
            </a:extLst>
          </p:cNvPr>
          <p:cNvSpPr/>
          <p:nvPr/>
        </p:nvSpPr>
        <p:spPr>
          <a:xfrm>
            <a:off x="284691" y="1701800"/>
            <a:ext cx="5929843" cy="4766733"/>
          </a:xfrm>
          <a:prstGeom prst="roundRect">
            <a:avLst/>
          </a:prstGeom>
          <a:noFill/>
          <a:ln>
            <a:solidFill>
              <a:srgbClr val="202A4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C3932BE-FC4E-8236-1A83-F0D7447B8B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1393" y="1798401"/>
            <a:ext cx="5339195" cy="1584600"/>
          </a:xfrm>
          <a:prstGeom prst="rect">
            <a:avLst/>
          </a:prstGeom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FF9DE081-AA09-BB5E-709B-63AAB98C886B}"/>
              </a:ext>
            </a:extLst>
          </p:cNvPr>
          <p:cNvSpPr/>
          <p:nvPr/>
        </p:nvSpPr>
        <p:spPr>
          <a:xfrm>
            <a:off x="6461392" y="2844104"/>
            <a:ext cx="5339195" cy="225941"/>
          </a:xfrm>
          <a:prstGeom prst="roundRect">
            <a:avLst/>
          </a:prstGeom>
          <a:noFill/>
          <a:ln w="28575">
            <a:solidFill>
              <a:srgbClr val="FF92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9479E5B-86CD-4099-E7AE-C0CBC8021F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12340" y="3464381"/>
            <a:ext cx="3035527" cy="3192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4576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088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7E54E0-D061-39DE-2462-9FDFF69166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9748" y="2040523"/>
            <a:ext cx="4611067" cy="430887"/>
          </a:xfrm>
        </p:spPr>
        <p:txBody>
          <a:bodyPr/>
          <a:lstStyle/>
          <a:p>
            <a:r>
              <a:rPr lang="en-US" sz="2800" dirty="0">
                <a:solidFill>
                  <a:schemeClr val="bg1"/>
                </a:solidFill>
                <a:latin typeface="+mn-lt"/>
              </a:rPr>
              <a:t>Objective 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1EDC71-E486-45A5-1F27-E91466FFA99B}"/>
              </a:ext>
            </a:extLst>
          </p:cNvPr>
          <p:cNvSpPr txBox="1"/>
          <p:nvPr/>
        </p:nvSpPr>
        <p:spPr>
          <a:xfrm>
            <a:off x="493160" y="2583496"/>
            <a:ext cx="864313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ea typeface="+mn-ea"/>
                <a:cs typeface="+mn-cs"/>
              </a:rPr>
              <a:t>Create a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926B"/>
                </a:solidFill>
                <a:effectLst/>
                <a:uLnTx/>
                <a:uFillTx/>
                <a:ea typeface="+mn-ea"/>
                <a:cs typeface="+mn-cs"/>
              </a:rPr>
              <a:t>diagnostic tool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202A44"/>
                </a:solidFill>
                <a:effectLst/>
                <a:uLnTx/>
                <a:uFillTx/>
                <a:ea typeface="+mn-ea"/>
                <a:cs typeface="+mn-cs"/>
              </a:rPr>
              <a:t>for providers.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02A44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46409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0C9A529-2999-6066-A6E4-87B934B7BC6A}"/>
              </a:ext>
            </a:extLst>
          </p:cNvPr>
          <p:cNvSpPr/>
          <p:nvPr/>
        </p:nvSpPr>
        <p:spPr>
          <a:xfrm>
            <a:off x="-1588" y="0"/>
            <a:ext cx="12192000" cy="1362269"/>
          </a:xfrm>
          <a:prstGeom prst="rect">
            <a:avLst/>
          </a:prstGeom>
          <a:solidFill>
            <a:srgbClr val="708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05A96E7B-3D2E-4C40-AB13-E65299A25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572393"/>
            <a:ext cx="10947772" cy="348300"/>
          </a:xfrm>
        </p:spPr>
        <p:txBody>
          <a:bodyPr/>
          <a:lstStyle/>
          <a:p>
            <a:r>
              <a:rPr lang="en-US" sz="2800" dirty="0"/>
              <a:t>Objectives</a:t>
            </a:r>
          </a:p>
        </p:txBody>
      </p:sp>
      <p:pic>
        <p:nvPicPr>
          <p:cNvPr id="4" name="Picture 3">
            <a:hlinkClick r:id="rId3"/>
            <a:extLst>
              <a:ext uri="{FF2B5EF4-FFF2-40B4-BE49-F238E27FC236}">
                <a16:creationId xmlns:a16="http://schemas.microsoft.com/office/drawing/2014/main" id="{C462B9B5-A0CB-0915-308E-88197C83E8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588" y="0"/>
            <a:ext cx="12193588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3911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apgemini Master 2021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Roboto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ésentation11" id="{18B0FA0E-52BA-4F3F-B2FD-88B4C8061DF8}" vid="{6634CB38-2CA3-42B5-9F43-E11F89D9B2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2</TotalTime>
  <Words>312</Words>
  <Application>Microsoft Office PowerPoint</Application>
  <PresentationFormat>Widescreen</PresentationFormat>
  <Paragraphs>52</Paragraphs>
  <Slides>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Calibri</vt:lpstr>
      <vt:lpstr>Roboto</vt:lpstr>
      <vt:lpstr>Roboto Medium</vt:lpstr>
      <vt:lpstr>Ubuntu</vt:lpstr>
      <vt:lpstr>Ubuntu Light</vt:lpstr>
      <vt:lpstr>Wingdings</vt:lpstr>
      <vt:lpstr>1_Capgemini Master 2021</vt:lpstr>
      <vt:lpstr>think-cell Slide</vt:lpstr>
      <vt:lpstr>Polycystic Ovarian Syndrome Diagnostic  Tool </vt:lpstr>
      <vt:lpstr>What you should know about </vt:lpstr>
      <vt:lpstr>About the data</vt:lpstr>
      <vt:lpstr>Objectives</vt:lpstr>
      <vt:lpstr>PowerPoint Presentation</vt:lpstr>
      <vt:lpstr>Model Creation &amp; Evaluation </vt:lpstr>
      <vt:lpstr>PowerPoint Presentation</vt:lpstr>
      <vt:lpstr>Objectiv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lycystic Ovarian Syndrome</dc:title>
  <dc:creator>sarah-beth.powell@outlook.com</dc:creator>
  <cp:lastModifiedBy>sarah-beth.powell@outlook.com</cp:lastModifiedBy>
  <cp:revision>2</cp:revision>
  <dcterms:created xsi:type="dcterms:W3CDTF">2022-11-02T21:57:11Z</dcterms:created>
  <dcterms:modified xsi:type="dcterms:W3CDTF">2022-11-30T22:59:19Z</dcterms:modified>
</cp:coreProperties>
</file>